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41" r:id="rId2"/>
  </p:sldMasterIdLst>
  <p:notesMasterIdLst>
    <p:notesMasterId r:id="rId9"/>
  </p:notesMasterIdLst>
  <p:handoutMasterIdLst>
    <p:handoutMasterId r:id="rId10"/>
  </p:handoutMasterIdLst>
  <p:sldIdLst>
    <p:sldId id="436" r:id="rId3"/>
    <p:sldId id="438" r:id="rId4"/>
    <p:sldId id="287" r:id="rId5"/>
    <p:sldId id="439" r:id="rId6"/>
    <p:sldId id="437" r:id="rId7"/>
    <p:sldId id="440" r:id="rId8"/>
  </p:sldIdLst>
  <p:sldSz cx="12188825" cy="6858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eston, Ryan" initials="PR" lastIdx="1" clrIdx="0">
    <p:extLst>
      <p:ext uri="{19B8F6BF-5375-455C-9EA6-DF929625EA0E}">
        <p15:presenceInfo xmlns:p15="http://schemas.microsoft.com/office/powerpoint/2012/main" userId="S::ryan.preston@metlife.com::d881c2f4-0196-4140-a089-10a3eb1a97c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3AD"/>
    <a:srgbClr val="0061A0"/>
    <a:srgbClr val="E46B95"/>
    <a:srgbClr val="E5B2CF"/>
    <a:srgbClr val="00859B"/>
    <a:srgbClr val="00A78E"/>
    <a:srgbClr val="66CABB"/>
    <a:srgbClr val="B2DAE1"/>
    <a:srgbClr val="F9F9F9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687" autoAdjust="0"/>
    <p:restoredTop sz="96357" autoAdjust="0"/>
  </p:normalViewPr>
  <p:slideViewPr>
    <p:cSldViewPr snapToGrid="0">
      <p:cViewPr varScale="1">
        <p:scale>
          <a:sx n="106" d="100"/>
          <a:sy n="106" d="100"/>
        </p:scale>
        <p:origin x="1074" y="108"/>
      </p:cViewPr>
      <p:guideLst>
        <p:guide orient="horz" pos="2160"/>
        <p:guide pos="38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 snapToGrid="0" snapToObjects="1">
      <p:cViewPr varScale="1">
        <p:scale>
          <a:sx n="125" d="100"/>
          <a:sy n="125" d="100"/>
        </p:scale>
        <p:origin x="-2312" y="-104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Arial" charset="0"/>
              <a:cs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Arial" charset="0"/>
                <a:cs typeface="Arial" charset="0"/>
              </a:rPr>
              <a:t>12/9/2021</a:t>
            </a:fld>
            <a:endParaRPr lang="en-US" sz="1000" dirty="0">
              <a:latin typeface="Arial" charset="0"/>
              <a:cs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Arial" charset="0"/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Arial" charset="0"/>
                <a:cs typeface="Arial" charset="0"/>
              </a:rPr>
              <a:t>‹#›</a:t>
            </a:fld>
            <a:endParaRPr lang="en-US" sz="10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 b="0" i="0">
                <a:latin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 b="0" i="0">
                <a:latin typeface="Arial" charset="0"/>
                <a:cs typeface="Arial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12/9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 b="0" i="0">
                <a:latin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 b="0" i="0">
                <a:latin typeface="Arial" charset="0"/>
                <a:cs typeface="Arial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64976E-3E97-4431-AA0E-54184CC7CD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88199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64976E-3E97-4431-AA0E-54184CC7CD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13827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64976E-3E97-4431-AA0E-54184CC7CD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03202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64976E-3E97-4431-AA0E-54184CC7CD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6881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64976E-3E97-4431-AA0E-54184CC7CD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18090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64976E-3E97-4431-AA0E-54184CC7CD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71346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57338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613" y="3987483"/>
            <a:ext cx="679435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613" y="5345291"/>
            <a:ext cx="5193792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0357338" y="0"/>
            <a:ext cx="455612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0815764" y="0"/>
            <a:ext cx="1373061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1509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5981" y="0"/>
            <a:ext cx="6112843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5394960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5394960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6704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5394960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5394960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5981" y="0"/>
            <a:ext cx="6112843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95031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88825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BD4629-B2F8-DD40-968A-B631872631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3965" y="6215044"/>
            <a:ext cx="1676755" cy="69375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posing Id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8352" y="0"/>
            <a:ext cx="6091100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97725" y="0"/>
            <a:ext cx="6091100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88944" y="1504121"/>
            <a:ext cx="2910508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Opposing ideas </a:t>
            </a:r>
            <a:br>
              <a:rPr lang="en-US" dirty="0"/>
            </a:br>
            <a:r>
              <a:rPr lang="en-US" dirty="0"/>
              <a:t>with statements supported by graphics/imag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7725" y="1504121"/>
            <a:ext cx="2907792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2pPr>
            <a:lvl3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3pPr>
            <a:lvl4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4pPr>
            <a:lvl5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5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Opposing ideas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with statements supported by graphics/images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CF153760-0266-D144-95C5-71B72E3DF8A8}"/>
              </a:ext>
            </a:extLst>
          </p:cNvPr>
          <p:cNvSpPr txBox="1">
            <a:spLocks/>
          </p:cNvSpPr>
          <p:nvPr userDrawn="1"/>
        </p:nvSpPr>
        <p:spPr>
          <a:xfrm>
            <a:off x="11454523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48391368-8E4D-9147-B145-DF1372B4EE6E}"/>
              </a:ext>
            </a:extLst>
          </p:cNvPr>
          <p:cNvSpPr txBox="1">
            <a:spLocks/>
          </p:cNvSpPr>
          <p:nvPr userDrawn="1"/>
        </p:nvSpPr>
        <p:spPr>
          <a:xfrm>
            <a:off x="8921749" y="6418626"/>
            <a:ext cx="253277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0101C57-35E1-494B-BF13-8B3A6E812463}"/>
              </a:ext>
            </a:extLst>
          </p:cNvPr>
          <p:cNvSpPr txBox="1">
            <a:spLocks/>
          </p:cNvSpPr>
          <p:nvPr userDrawn="1"/>
        </p:nvSpPr>
        <p:spPr>
          <a:xfrm>
            <a:off x="6026150" y="6418626"/>
            <a:ext cx="2895598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1091383-DEC4-204D-8A36-56BD8FFBC3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200" y="6356196"/>
            <a:ext cx="1490546" cy="37914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9454896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3884918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2038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9454896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388620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0572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9454896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08995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|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" y="0"/>
            <a:ext cx="6092757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5613"/>
            <a:ext cx="5373757" cy="5428352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 with Imag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85489" y="0"/>
            <a:ext cx="61033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D95ED186-43FB-524C-BA1D-FE9206B5EE21}"/>
              </a:ext>
            </a:extLst>
          </p:cNvPr>
          <p:cNvSpPr txBox="1">
            <a:spLocks/>
          </p:cNvSpPr>
          <p:nvPr userDrawn="1"/>
        </p:nvSpPr>
        <p:spPr>
          <a:xfrm>
            <a:off x="11454523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E644EB67-7A01-0445-BE7F-7139E2D0ADE7}"/>
              </a:ext>
            </a:extLst>
          </p:cNvPr>
          <p:cNvSpPr txBox="1">
            <a:spLocks/>
          </p:cNvSpPr>
          <p:nvPr userDrawn="1"/>
        </p:nvSpPr>
        <p:spPr>
          <a:xfrm>
            <a:off x="8921749" y="6418626"/>
            <a:ext cx="253277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B138C220-F154-1547-B8B8-038AF7C8FDEE}"/>
              </a:ext>
            </a:extLst>
          </p:cNvPr>
          <p:cNvSpPr txBox="1">
            <a:spLocks/>
          </p:cNvSpPr>
          <p:nvPr userDrawn="1"/>
        </p:nvSpPr>
        <p:spPr>
          <a:xfrm>
            <a:off x="6026150" y="6418626"/>
            <a:ext cx="2895598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0768B1-8C76-EF4E-AD7C-DD7331E615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200" y="6356196"/>
            <a:ext cx="1490546" cy="37914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5860" y="0"/>
            <a:ext cx="306296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8407292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198" y="1371600"/>
            <a:ext cx="8409340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0808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5860" y="0"/>
            <a:ext cx="306296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8407292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841248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4726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Rever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0"/>
            <a:ext cx="12188824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0D243D2-BC3C-A440-8E6C-A5ED6CDC7D64}"/>
              </a:ext>
            </a:extLst>
          </p:cNvPr>
          <p:cNvSpPr txBox="1">
            <a:spLocks/>
          </p:cNvSpPr>
          <p:nvPr userDrawn="1"/>
        </p:nvSpPr>
        <p:spPr>
          <a:xfrm>
            <a:off x="11454523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2128D92-AA66-A049-A528-5B202C14A7D1}"/>
              </a:ext>
            </a:extLst>
          </p:cNvPr>
          <p:cNvSpPr txBox="1">
            <a:spLocks/>
          </p:cNvSpPr>
          <p:nvPr userDrawn="1"/>
        </p:nvSpPr>
        <p:spPr>
          <a:xfrm>
            <a:off x="8921749" y="6418626"/>
            <a:ext cx="253277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B09D78D-265C-6040-B686-E6DCD4807E7C}"/>
              </a:ext>
            </a:extLst>
          </p:cNvPr>
          <p:cNvSpPr txBox="1">
            <a:spLocks/>
          </p:cNvSpPr>
          <p:nvPr userDrawn="1"/>
        </p:nvSpPr>
        <p:spPr>
          <a:xfrm>
            <a:off x="6026150" y="6418626"/>
            <a:ext cx="2895598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A6CA77-4A88-D242-9E7A-7B4965431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3965" y="6215044"/>
            <a:ext cx="1676755" cy="69375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AC0D03F-F761-764B-8C25-975C1CFF96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5613" y="3987483"/>
            <a:ext cx="679435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DE42373-4557-BB4F-9297-F9E4DB718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613" y="5345291"/>
            <a:ext cx="5193792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424721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92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6260353"/>
            <a:ext cx="12188824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11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 preferRelativeResize="0"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8748" y="947521"/>
            <a:ext cx="2313806" cy="15934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027" y="674177"/>
            <a:ext cx="2933353" cy="520139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444059"/>
            <a:ext cx="7925195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7925194" y="6444059"/>
            <a:ext cx="1223798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9148990" y="6444059"/>
            <a:ext cx="2469901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11618889" y="6444059"/>
            <a:ext cx="56993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43855" y="3704884"/>
            <a:ext cx="10858692" cy="774216"/>
          </a:xfrm>
        </p:spPr>
        <p:txBody>
          <a:bodyPr lIns="0" rIns="0" anchor="b">
            <a:noAutofit/>
          </a:bodyPr>
          <a:lstStyle>
            <a:lvl1pPr algn="l">
              <a:lnSpc>
                <a:spcPct val="100000"/>
              </a:lnSpc>
              <a:defRPr sz="2999" spc="-2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3849" y="4577048"/>
            <a:ext cx="6313939" cy="325152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799" b="1" i="0">
                <a:solidFill>
                  <a:schemeClr val="tx1"/>
                </a:solidFill>
              </a:defRPr>
            </a:lvl1pPr>
            <a:lvl2pPr marL="342797" indent="0" algn="ctr">
              <a:buNone/>
              <a:defRPr sz="1500"/>
            </a:lvl2pPr>
            <a:lvl3pPr marL="685594" indent="0" algn="ctr">
              <a:buNone/>
              <a:defRPr sz="1400"/>
            </a:lvl3pPr>
            <a:lvl4pPr marL="1028391" indent="0" algn="ctr">
              <a:buNone/>
              <a:defRPr sz="1200"/>
            </a:lvl4pPr>
            <a:lvl5pPr marL="1371189" indent="0" algn="ctr">
              <a:buNone/>
              <a:defRPr sz="1200"/>
            </a:lvl5pPr>
            <a:lvl6pPr marL="1713986" indent="0" algn="ctr">
              <a:buNone/>
              <a:defRPr sz="1200"/>
            </a:lvl6pPr>
            <a:lvl7pPr marL="2056783" indent="0" algn="ctr">
              <a:buNone/>
              <a:defRPr sz="1200"/>
            </a:lvl7pPr>
            <a:lvl8pPr marL="2399580" indent="0" algn="ctr">
              <a:buNone/>
              <a:defRPr sz="1200"/>
            </a:lvl8pPr>
            <a:lvl9pPr marL="2742377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2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3849" y="4953003"/>
            <a:ext cx="6313939" cy="29845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 sz="1799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2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3848" y="5314947"/>
            <a:ext cx="6313939" cy="292107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 sz="1799"/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598230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15" y="2761675"/>
            <a:ext cx="11244978" cy="603863"/>
          </a:xfrm>
        </p:spPr>
        <p:txBody>
          <a:bodyPr anchor="t">
            <a:normAutofit/>
          </a:bodyPr>
          <a:lstStyle>
            <a:lvl1pPr>
              <a:defRPr sz="2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9970" y="3385519"/>
            <a:ext cx="11248922" cy="373719"/>
          </a:xfrm>
        </p:spPr>
        <p:txBody>
          <a:bodyPr lIns="91440" tIns="0" rIns="91440" bIns="0" anchor="b" anchorCtr="0">
            <a:noAutofit/>
          </a:bodyPr>
          <a:lstStyle>
            <a:lvl1pPr>
              <a:defRPr sz="17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5"/>
            <a:ext cx="7925195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7925194" y="5"/>
            <a:ext cx="1223798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148990" y="5"/>
            <a:ext cx="2469901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1618889" y="5"/>
            <a:ext cx="56993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1105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740" y="1869028"/>
            <a:ext cx="9255889" cy="4226983"/>
          </a:xfrm>
        </p:spPr>
        <p:txBody>
          <a:bodyPr>
            <a:normAutofit/>
          </a:bodyPr>
          <a:lstStyle>
            <a:lvl1pPr>
              <a:lnSpc>
                <a:spcPts val="4499"/>
              </a:lnSpc>
              <a:defRPr sz="2199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1" y="857366"/>
            <a:ext cx="9262590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7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620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45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88825" cy="6324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83" y="3048815"/>
            <a:ext cx="11471260" cy="760372"/>
          </a:xfrm>
        </p:spPr>
        <p:txBody>
          <a:bodyPr anchor="ctr"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3460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679" y="998118"/>
            <a:ext cx="7860277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27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0182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679" y="998118"/>
            <a:ext cx="7860277" cy="3401253"/>
          </a:xfrm>
        </p:spPr>
        <p:txBody>
          <a:bodyPr anchor="t">
            <a:noAutofit/>
          </a:bodyPr>
          <a:lstStyle>
            <a:lvl1pPr algn="l">
              <a:defRPr sz="27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4782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679" y="998118"/>
            <a:ext cx="7860277" cy="3401253"/>
          </a:xfrm>
        </p:spPr>
        <p:txBody>
          <a:bodyPr anchor="t">
            <a:noAutofit/>
          </a:bodyPr>
          <a:lstStyle>
            <a:lvl1pPr algn="l">
              <a:defRPr sz="27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7322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325" y="1696288"/>
            <a:ext cx="11473718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199"/>
            </a:lvl1pPr>
            <a:lvl2pPr>
              <a:lnSpc>
                <a:spcPct val="140000"/>
              </a:lnSpc>
              <a:defRPr sz="2199"/>
            </a:lvl2pPr>
            <a:lvl3pPr>
              <a:lnSpc>
                <a:spcPct val="140000"/>
              </a:lnSpc>
              <a:defRPr sz="2199"/>
            </a:lvl3pPr>
            <a:lvl4pPr>
              <a:lnSpc>
                <a:spcPct val="140000"/>
              </a:lnSpc>
              <a:defRPr sz="2199"/>
            </a:lvl4pPr>
            <a:lvl5pPr>
              <a:lnSpc>
                <a:spcPct val="140000"/>
              </a:lnSpc>
              <a:defRPr sz="2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786" y="204845"/>
            <a:ext cx="11471259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20314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0" y="857366"/>
            <a:ext cx="11477002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058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0363200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613" y="3987483"/>
            <a:ext cx="679435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612" y="5345291"/>
            <a:ext cx="679519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359310" y="0"/>
            <a:ext cx="455612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0815764" y="0"/>
            <a:ext cx="1373061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6286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325" y="1696288"/>
            <a:ext cx="11473718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199"/>
            </a:lvl1pPr>
            <a:lvl2pPr>
              <a:lnSpc>
                <a:spcPct val="140000"/>
              </a:lnSpc>
              <a:defRPr sz="2199"/>
            </a:lvl2pPr>
            <a:lvl3pPr>
              <a:lnSpc>
                <a:spcPct val="140000"/>
              </a:lnSpc>
              <a:defRPr sz="2199"/>
            </a:lvl3pPr>
            <a:lvl4pPr>
              <a:lnSpc>
                <a:spcPct val="140000"/>
              </a:lnSpc>
              <a:defRPr sz="2199"/>
            </a:lvl4pPr>
            <a:lvl5pPr>
              <a:lnSpc>
                <a:spcPct val="140000"/>
              </a:lnSpc>
              <a:defRPr sz="2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786" y="204845"/>
            <a:ext cx="11471259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0" y="857366"/>
            <a:ext cx="11477002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1153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786" y="204845"/>
            <a:ext cx="11471259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0" y="664026"/>
            <a:ext cx="11478377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5235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783" y="206479"/>
            <a:ext cx="11471260" cy="101272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325" y="1977243"/>
            <a:ext cx="11475094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199"/>
            </a:lvl1pPr>
            <a:lvl2pPr>
              <a:lnSpc>
                <a:spcPct val="140000"/>
              </a:lnSpc>
              <a:defRPr sz="2199"/>
            </a:lvl2pPr>
            <a:lvl3pPr>
              <a:lnSpc>
                <a:spcPct val="140000"/>
              </a:lnSpc>
              <a:defRPr sz="2199"/>
            </a:lvl3pPr>
            <a:lvl4pPr>
              <a:lnSpc>
                <a:spcPct val="140000"/>
              </a:lnSpc>
              <a:defRPr sz="2199"/>
            </a:lvl4pPr>
            <a:lvl5pPr>
              <a:lnSpc>
                <a:spcPct val="140000"/>
              </a:lnSpc>
              <a:defRPr sz="2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0" y="1219202"/>
            <a:ext cx="11478378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3614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58783" y="206479"/>
            <a:ext cx="11471260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0" y="1219202"/>
            <a:ext cx="11478378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9549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029" y="1032011"/>
            <a:ext cx="1825428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254" y="1032011"/>
            <a:ext cx="1829700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2183" y="1032011"/>
            <a:ext cx="1808761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2746" y="1032011"/>
            <a:ext cx="1829700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66757" y="1434937"/>
            <a:ext cx="1829700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2578254" y="1434937"/>
            <a:ext cx="1829700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4789757" y="1433889"/>
            <a:ext cx="1829700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7001244" y="1434937"/>
            <a:ext cx="1829700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9212746" y="1434937"/>
            <a:ext cx="1829700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89757" y="1032011"/>
            <a:ext cx="1829700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326" y="1696288"/>
            <a:ext cx="1143931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199"/>
            </a:lvl1pPr>
            <a:lvl2pPr>
              <a:lnSpc>
                <a:spcPct val="140000"/>
              </a:lnSpc>
              <a:defRPr sz="2199"/>
            </a:lvl2pPr>
            <a:lvl3pPr>
              <a:lnSpc>
                <a:spcPct val="140000"/>
              </a:lnSpc>
              <a:defRPr sz="2199"/>
            </a:lvl3pPr>
            <a:lvl4pPr>
              <a:lnSpc>
                <a:spcPct val="140000"/>
              </a:lnSpc>
              <a:defRPr sz="2199"/>
            </a:lvl4pPr>
            <a:lvl5pPr>
              <a:lnSpc>
                <a:spcPct val="140000"/>
              </a:lnSpc>
              <a:defRPr sz="2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4534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4290939" y="1020719"/>
            <a:ext cx="1858977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741" y="1032011"/>
            <a:ext cx="1855562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3631" y="1032011"/>
            <a:ext cx="1858977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3836" y="1032011"/>
            <a:ext cx="1858977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8246" y="1032011"/>
            <a:ext cx="1858977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5553" y="1032011"/>
            <a:ext cx="1858977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326" y="1696288"/>
            <a:ext cx="1143931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199"/>
            </a:lvl1pPr>
            <a:lvl2pPr>
              <a:lnSpc>
                <a:spcPct val="140000"/>
              </a:lnSpc>
              <a:defRPr sz="2199"/>
            </a:lvl2pPr>
            <a:lvl3pPr>
              <a:lnSpc>
                <a:spcPct val="140000"/>
              </a:lnSpc>
              <a:defRPr sz="2199"/>
            </a:lvl3pPr>
            <a:lvl4pPr>
              <a:lnSpc>
                <a:spcPct val="140000"/>
              </a:lnSpc>
              <a:defRPr sz="2199"/>
            </a:lvl4pPr>
            <a:lvl5pPr>
              <a:lnSpc>
                <a:spcPct val="140000"/>
              </a:lnSpc>
              <a:defRPr sz="2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0960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81" y="1452247"/>
            <a:ext cx="5180251" cy="4351339"/>
          </a:xfrm>
        </p:spPr>
        <p:txBody>
          <a:bodyPr>
            <a:normAutofit/>
          </a:bodyPr>
          <a:lstStyle>
            <a:lvl1pPr>
              <a:defRPr sz="1999"/>
            </a:lvl1pPr>
            <a:lvl2pPr>
              <a:defRPr sz="1999"/>
            </a:lvl2pPr>
            <a:lvl3pPr>
              <a:defRPr sz="1999"/>
            </a:lvl3pPr>
            <a:lvl4pPr>
              <a:defRPr sz="1999"/>
            </a:lvl4pPr>
            <a:lvl5pPr>
              <a:defRPr sz="19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1392" y="1452247"/>
            <a:ext cx="5180251" cy="4351339"/>
          </a:xfrm>
        </p:spPr>
        <p:txBody>
          <a:bodyPr>
            <a:normAutofit/>
          </a:bodyPr>
          <a:lstStyle>
            <a:lvl1pPr>
              <a:defRPr sz="1999"/>
            </a:lvl1pPr>
            <a:lvl2pPr>
              <a:defRPr sz="1999"/>
            </a:lvl2pPr>
            <a:lvl3pPr>
              <a:defRPr sz="1999"/>
            </a:lvl3pPr>
            <a:lvl4pPr>
              <a:defRPr sz="1999"/>
            </a:lvl4pPr>
            <a:lvl5pPr>
              <a:defRPr sz="19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93512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85" y="1845871"/>
            <a:ext cx="3373133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999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2427" y="1845871"/>
            <a:ext cx="3373133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999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5566" y="1845871"/>
            <a:ext cx="3373133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999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585" y="2659262"/>
            <a:ext cx="3373886" cy="3272367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1799"/>
            </a:lvl1pPr>
            <a:lvl2pPr>
              <a:lnSpc>
                <a:spcPts val="2199"/>
              </a:lnSpc>
              <a:defRPr sz="1799"/>
            </a:lvl2pPr>
            <a:lvl3pPr>
              <a:lnSpc>
                <a:spcPts val="2199"/>
              </a:lnSpc>
              <a:defRPr sz="1799"/>
            </a:lvl3pPr>
            <a:lvl4pPr>
              <a:lnSpc>
                <a:spcPts val="2199"/>
              </a:lnSpc>
              <a:defRPr sz="1799"/>
            </a:lvl4pPr>
            <a:lvl5pPr>
              <a:lnSpc>
                <a:spcPts val="2199"/>
              </a:lnSpc>
              <a:defRPr sz="17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3219" y="2659262"/>
            <a:ext cx="3373886" cy="3272367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1799"/>
            </a:lvl1pPr>
            <a:lvl2pPr>
              <a:lnSpc>
                <a:spcPts val="2199"/>
              </a:lnSpc>
              <a:defRPr sz="1799"/>
            </a:lvl2pPr>
            <a:lvl3pPr>
              <a:lnSpc>
                <a:spcPts val="2199"/>
              </a:lnSpc>
              <a:defRPr sz="1799"/>
            </a:lvl3pPr>
            <a:lvl4pPr>
              <a:lnSpc>
                <a:spcPts val="2199"/>
              </a:lnSpc>
              <a:defRPr sz="1799"/>
            </a:lvl4pPr>
            <a:lvl5pPr>
              <a:lnSpc>
                <a:spcPts val="2199"/>
              </a:lnSpc>
              <a:defRPr sz="17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4799" y="2659262"/>
            <a:ext cx="3373886" cy="3272367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1799"/>
            </a:lvl1pPr>
            <a:lvl2pPr>
              <a:lnSpc>
                <a:spcPts val="2199"/>
              </a:lnSpc>
              <a:defRPr sz="1799"/>
            </a:lvl2pPr>
            <a:lvl3pPr>
              <a:lnSpc>
                <a:spcPts val="2199"/>
              </a:lnSpc>
              <a:defRPr sz="1799"/>
            </a:lvl3pPr>
            <a:lvl4pPr>
              <a:lnSpc>
                <a:spcPts val="2199"/>
              </a:lnSpc>
              <a:defRPr sz="1799"/>
            </a:lvl4pPr>
            <a:lvl5pPr>
              <a:lnSpc>
                <a:spcPts val="2199"/>
              </a:lnSpc>
              <a:defRPr sz="17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353041" y="857366"/>
            <a:ext cx="9262590" cy="31103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7736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15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1" y="857366"/>
            <a:ext cx="9262590" cy="31103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356326" y="1920550"/>
            <a:ext cx="3589146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1999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56326" y="3181472"/>
            <a:ext cx="3589146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1999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356326" y="4466748"/>
            <a:ext cx="3589146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1999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4089076" y="1857050"/>
            <a:ext cx="7253579" cy="862965"/>
          </a:xfrm>
        </p:spPr>
        <p:txBody>
          <a:bodyPr tIns="0" bIns="0" anchor="t" anchorCtr="0">
            <a:normAutofit/>
          </a:bodyPr>
          <a:lstStyle>
            <a:lvl1pPr>
              <a:defRPr sz="1799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8"/>
          </p:nvPr>
        </p:nvSpPr>
        <p:spPr>
          <a:xfrm>
            <a:off x="4089076" y="3125663"/>
            <a:ext cx="7253579" cy="879612"/>
          </a:xfrm>
        </p:spPr>
        <p:txBody>
          <a:bodyPr tIns="0" bIns="0" anchor="t" anchorCtr="0">
            <a:normAutofit/>
          </a:bodyPr>
          <a:lstStyle>
            <a:lvl1pPr>
              <a:defRPr sz="1799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9"/>
          </p:nvPr>
        </p:nvSpPr>
        <p:spPr>
          <a:xfrm>
            <a:off x="4089076" y="4403211"/>
            <a:ext cx="7253579" cy="1045091"/>
          </a:xfrm>
        </p:spPr>
        <p:txBody>
          <a:bodyPr tIns="0" bIns="0" anchor="t" anchorCtr="0">
            <a:normAutofit/>
          </a:bodyPr>
          <a:lstStyle>
            <a:lvl1pPr>
              <a:defRPr sz="1799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66539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381" y="4122422"/>
            <a:ext cx="2755101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2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0278" y="4122422"/>
            <a:ext cx="2755101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2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5174" y="4122422"/>
            <a:ext cx="2755101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2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0067" y="4122422"/>
            <a:ext cx="2755101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2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58789" y="206479"/>
            <a:ext cx="9256846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1" y="1219202"/>
            <a:ext cx="9262590" cy="31103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74982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613" y="3987483"/>
            <a:ext cx="679435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accent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612" y="5345291"/>
            <a:ext cx="679519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8634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53E704-F213-432D-BB6E-F1DED02B8CA0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928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57338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613" y="1935162"/>
            <a:ext cx="8275637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D7CB4-AC62-9F48-A705-796142F13742}"/>
              </a:ext>
            </a:extLst>
          </p:cNvPr>
          <p:cNvSpPr/>
          <p:nvPr userDrawn="1"/>
        </p:nvSpPr>
        <p:spPr>
          <a:xfrm>
            <a:off x="10357338" y="0"/>
            <a:ext cx="45561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499CCF-DB5D-1147-8D19-56CAAB4805CA}"/>
              </a:ext>
            </a:extLst>
          </p:cNvPr>
          <p:cNvSpPr/>
          <p:nvPr userDrawn="1"/>
        </p:nvSpPr>
        <p:spPr>
          <a:xfrm>
            <a:off x="10815764" y="0"/>
            <a:ext cx="137306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369F17-56A0-BB4D-AC17-65EDADA7B8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3965" y="6215044"/>
            <a:ext cx="1676755" cy="69375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036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613" y="1935162"/>
            <a:ext cx="8275637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 userDrawn="1"/>
        </p:nvSpPr>
        <p:spPr>
          <a:xfrm>
            <a:off x="10359310" y="0"/>
            <a:ext cx="45561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 userDrawn="1"/>
        </p:nvSpPr>
        <p:spPr>
          <a:xfrm>
            <a:off x="10815764" y="0"/>
            <a:ext cx="1373061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3965" y="6215044"/>
            <a:ext cx="1676755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69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0"/>
            <a:ext cx="1218882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5613"/>
            <a:ext cx="11274552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 userDrawn="1"/>
        </p:nvSpPr>
        <p:spPr>
          <a:xfrm>
            <a:off x="11454523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D0D8946D-F449-5F4C-804E-200176634BDF}"/>
              </a:ext>
            </a:extLst>
          </p:cNvPr>
          <p:cNvSpPr txBox="1">
            <a:spLocks/>
          </p:cNvSpPr>
          <p:nvPr userDrawn="1"/>
        </p:nvSpPr>
        <p:spPr>
          <a:xfrm>
            <a:off x="8921749" y="6418626"/>
            <a:ext cx="253277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27EE6175-3C10-4349-90EA-276AA47F3390}"/>
              </a:ext>
            </a:extLst>
          </p:cNvPr>
          <p:cNvSpPr txBox="1">
            <a:spLocks/>
          </p:cNvSpPr>
          <p:nvPr userDrawn="1"/>
        </p:nvSpPr>
        <p:spPr>
          <a:xfrm>
            <a:off x="6026150" y="6418626"/>
            <a:ext cx="2895598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36FBB9-070C-164B-B11C-3D098B0AA7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3965" y="6215044"/>
            <a:ext cx="1676755" cy="69375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9454896" cy="73161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9450388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76279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9454896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944245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/>
            </a:lvl3pPr>
            <a:lvl4pPr marL="398463" indent="-200025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88681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image" Target="../media/image4.jpeg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6013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11276013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8"/>
          <p:cNvSpPr txBox="1">
            <a:spLocks/>
          </p:cNvSpPr>
          <p:nvPr userDrawn="1"/>
        </p:nvSpPr>
        <p:spPr>
          <a:xfrm>
            <a:off x="11454523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200" y="6356196"/>
            <a:ext cx="1490546" cy="379142"/>
          </a:xfrm>
          <a:prstGeom prst="rect">
            <a:avLst/>
          </a:prstGeom>
        </p:spPr>
      </p:pic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E321F721-4826-4E4E-A2A8-70906FC8472E}"/>
              </a:ext>
            </a:extLst>
          </p:cNvPr>
          <p:cNvSpPr txBox="1">
            <a:spLocks/>
          </p:cNvSpPr>
          <p:nvPr userDrawn="1"/>
        </p:nvSpPr>
        <p:spPr>
          <a:xfrm>
            <a:off x="8921749" y="6418626"/>
            <a:ext cx="253277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7BBFEA55-E6CB-FA4D-A342-CAA145C6F31A}"/>
              </a:ext>
            </a:extLst>
          </p:cNvPr>
          <p:cNvSpPr txBox="1">
            <a:spLocks/>
          </p:cNvSpPr>
          <p:nvPr userDrawn="1"/>
        </p:nvSpPr>
        <p:spPr>
          <a:xfrm>
            <a:off x="6026150" y="6418626"/>
            <a:ext cx="2895598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315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740" r:id="rId2"/>
    <p:sldLayoutId id="2147483716" r:id="rId3"/>
    <p:sldLayoutId id="2147483736" r:id="rId4"/>
    <p:sldLayoutId id="2147483735" r:id="rId5"/>
    <p:sldLayoutId id="2147483661" r:id="rId6"/>
    <p:sldLayoutId id="2147483734" r:id="rId7"/>
    <p:sldLayoutId id="2147483705" r:id="rId8"/>
    <p:sldLayoutId id="2147483707" r:id="rId9"/>
    <p:sldLayoutId id="2147483722" r:id="rId10"/>
    <p:sldLayoutId id="2147483694" r:id="rId11"/>
    <p:sldLayoutId id="2147483737" r:id="rId12"/>
    <p:sldLayoutId id="2147483739" r:id="rId13"/>
    <p:sldLayoutId id="2147483695" r:id="rId14"/>
    <p:sldLayoutId id="2147483696" r:id="rId15"/>
    <p:sldLayoutId id="2147483698" r:id="rId16"/>
    <p:sldLayoutId id="2147483738" r:id="rId17"/>
    <p:sldLayoutId id="2147483701" r:id="rId18"/>
    <p:sldLayoutId id="2147483729" r:id="rId19"/>
    <p:sldLayoutId id="2147483655" r:id="rId20"/>
    <p:sldLayoutId id="2147483703" r:id="rId2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accent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20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5" indent="-200025" algn="l" defTabSz="914400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3" orient="horz" pos="3912" userDrawn="1">
          <p15:clr>
            <a:srgbClr val="F26B43"/>
          </p15:clr>
        </p15:guide>
        <p15:guide id="4" pos="7391" userDrawn="1">
          <p15:clr>
            <a:srgbClr val="F26B43"/>
          </p15:clr>
        </p15:guide>
        <p15:guide id="5" pos="287" userDrawn="1">
          <p15:clr>
            <a:srgbClr val="F26B43"/>
          </p15:clr>
        </p15:guide>
        <p15:guide id="6" orient="horz" pos="288" userDrawn="1">
          <p15:clr>
            <a:srgbClr val="F26B43"/>
          </p15:clr>
        </p15:guide>
        <p15:guide id="7" pos="791" userDrawn="1">
          <p15:clr>
            <a:srgbClr val="F26B43"/>
          </p15:clr>
        </p15:guide>
        <p15:guide id="8" pos="887" userDrawn="1">
          <p15:clr>
            <a:srgbClr val="F26B43"/>
          </p15:clr>
        </p15:guide>
        <p15:guide id="9" pos="1391" userDrawn="1">
          <p15:clr>
            <a:srgbClr val="F26B43"/>
          </p15:clr>
        </p15:guide>
        <p15:guide id="10" pos="1487" userDrawn="1">
          <p15:clr>
            <a:srgbClr val="F26B43"/>
          </p15:clr>
        </p15:guide>
        <p15:guide id="11" pos="1991" userDrawn="1">
          <p15:clr>
            <a:srgbClr val="F26B43"/>
          </p15:clr>
        </p15:guide>
        <p15:guide id="12" pos="2087" userDrawn="1">
          <p15:clr>
            <a:srgbClr val="F26B43"/>
          </p15:clr>
        </p15:guide>
        <p15:guide id="13" pos="2591" userDrawn="1">
          <p15:clr>
            <a:srgbClr val="F26B43"/>
          </p15:clr>
        </p15:guide>
        <p15:guide id="14" pos="2687" userDrawn="1">
          <p15:clr>
            <a:srgbClr val="F26B43"/>
          </p15:clr>
        </p15:guide>
        <p15:guide id="15" pos="3191" userDrawn="1">
          <p15:clr>
            <a:srgbClr val="F26B43"/>
          </p15:clr>
        </p15:guide>
        <p15:guide id="16" pos="3263" userDrawn="1">
          <p15:clr>
            <a:srgbClr val="F26B43"/>
          </p15:clr>
        </p15:guide>
        <p15:guide id="17" pos="3791" userDrawn="1">
          <p15:clr>
            <a:srgbClr val="F26B43"/>
          </p15:clr>
        </p15:guide>
        <p15:guide id="18" pos="3863" userDrawn="1">
          <p15:clr>
            <a:srgbClr val="F26B43"/>
          </p15:clr>
        </p15:guide>
        <p15:guide id="19" pos="4391" userDrawn="1">
          <p15:clr>
            <a:srgbClr val="F26B43"/>
          </p15:clr>
        </p15:guide>
        <p15:guide id="20" pos="4487" userDrawn="1">
          <p15:clr>
            <a:srgbClr val="F26B43"/>
          </p15:clr>
        </p15:guide>
        <p15:guide id="21" pos="4991" userDrawn="1">
          <p15:clr>
            <a:srgbClr val="F26B43"/>
          </p15:clr>
        </p15:guide>
        <p15:guide id="22" pos="5087" userDrawn="1">
          <p15:clr>
            <a:srgbClr val="F26B43"/>
          </p15:clr>
        </p15:guide>
        <p15:guide id="23" pos="5591" userDrawn="1">
          <p15:clr>
            <a:srgbClr val="F26B43"/>
          </p15:clr>
        </p15:guide>
        <p15:guide id="24" pos="5663" userDrawn="1">
          <p15:clr>
            <a:srgbClr val="F26B43"/>
          </p15:clr>
        </p15:guide>
        <p15:guide id="25" pos="6191" userDrawn="1">
          <p15:clr>
            <a:srgbClr val="F26B43"/>
          </p15:clr>
        </p15:guide>
        <p15:guide id="26" pos="6263" userDrawn="1">
          <p15:clr>
            <a:srgbClr val="F26B43"/>
          </p15:clr>
        </p15:guide>
        <p15:guide id="27" pos="6791" userDrawn="1">
          <p15:clr>
            <a:srgbClr val="F26B43"/>
          </p15:clr>
        </p15:guide>
        <p15:guide id="28" pos="6863" userDrawn="1">
          <p15:clr>
            <a:srgbClr val="F26B43"/>
          </p15:clr>
        </p15:guide>
        <p15:guide id="29" orient="horz" pos="86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24" imgW="471" imgH="472" progId="TCLayout.ActiveDocument.1">
                  <p:embed/>
                </p:oleObj>
              </mc:Choice>
              <mc:Fallback>
                <p:oleObj name="think-cell Slide" r:id="rId24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83" y="204831"/>
            <a:ext cx="11471260" cy="76037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333" y="1854339"/>
            <a:ext cx="11473716" cy="4281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39502" y="6415346"/>
            <a:ext cx="904332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594"/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685594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353796" y="6459799"/>
            <a:ext cx="1313705" cy="232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483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  <p:sldLayoutId id="2147483757" r:id="rId16"/>
    <p:sldLayoutId id="2147483758" r:id="rId17"/>
    <p:sldLayoutId id="2147483759" r:id="rId18"/>
    <p:sldLayoutId id="2147483760" r:id="rId19"/>
    <p:sldLayoutId id="2147483761" r:id="rId20"/>
  </p:sldLayoutIdLst>
  <p:hf hdr="0" ftr="0" dt="0"/>
  <p:txStyles>
    <p:titleStyle>
      <a:lvl1pPr algn="l" defTabSz="685594" rtl="0" eaLnBrk="1" latinLnBrk="0" hangingPunct="1">
        <a:lnSpc>
          <a:spcPct val="90000"/>
        </a:lnSpc>
        <a:spcBef>
          <a:spcPct val="0"/>
        </a:spcBef>
        <a:buNone/>
        <a:defRPr sz="2799" b="1" i="0" kern="1200" spc="-20" baseline="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685594" rtl="0" eaLnBrk="1" latinLnBrk="0" hangingPunct="1">
        <a:lnSpc>
          <a:spcPct val="140000"/>
        </a:lnSpc>
        <a:spcBef>
          <a:spcPts val="750"/>
        </a:spcBef>
        <a:buFont typeface="Arial"/>
        <a:buNone/>
        <a:defRPr sz="2199" kern="1200">
          <a:solidFill>
            <a:schemeClr val="tx1"/>
          </a:solidFill>
          <a:latin typeface="+mn-lt"/>
          <a:ea typeface="+mn-ea"/>
          <a:cs typeface="+mn-cs"/>
        </a:defRPr>
      </a:lvl1pPr>
      <a:lvl2pPr marL="130930" indent="-126168" algn="l" defTabSz="685594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199" kern="1200">
          <a:solidFill>
            <a:schemeClr val="tx1"/>
          </a:solidFill>
          <a:latin typeface="+mn-lt"/>
          <a:ea typeface="+mn-ea"/>
          <a:cs typeface="+mn-cs"/>
        </a:defRPr>
      </a:lvl2pPr>
      <a:lvl3pPr marL="302328" indent="-171399" algn="l" defTabSz="685594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199" kern="1200">
          <a:solidFill>
            <a:schemeClr val="tx1"/>
          </a:solidFill>
          <a:latin typeface="+mn-lt"/>
          <a:ea typeface="+mn-ea"/>
          <a:cs typeface="+mn-cs"/>
        </a:defRPr>
      </a:lvl3pPr>
      <a:lvl4pPr marL="428496" indent="-132120" algn="l" defTabSz="685594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199" kern="1200">
          <a:solidFill>
            <a:schemeClr val="tx1"/>
          </a:solidFill>
          <a:latin typeface="+mn-lt"/>
          <a:ea typeface="+mn-ea"/>
          <a:cs typeface="+mn-cs"/>
        </a:defRPr>
      </a:lvl4pPr>
      <a:lvl5pPr marL="560617" indent="-170209" algn="l" defTabSz="685594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199" kern="1200">
          <a:solidFill>
            <a:schemeClr val="tx1"/>
          </a:solidFill>
          <a:latin typeface="+mn-lt"/>
          <a:ea typeface="+mn-ea"/>
          <a:cs typeface="+mn-cs"/>
        </a:defRPr>
      </a:lvl5pPr>
      <a:lvl6pPr marL="1885384" indent="-171399" algn="l" defTabSz="6855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181" indent="-171399" algn="l" defTabSz="6855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978" indent="-171399" algn="l" defTabSz="6855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776" indent="-171399" algn="l" defTabSz="6855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97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594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391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189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986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783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580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377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image" Target="../media/image7.png"/><Relationship Id="rId7" Type="http://schemas.openxmlformats.org/officeDocument/2006/relationships/image" Target="../media/image1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7.png"/><Relationship Id="rId7" Type="http://schemas.openxmlformats.org/officeDocument/2006/relationships/image" Target="../media/image17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3.png"/><Relationship Id="rId5" Type="http://schemas.openxmlformats.org/officeDocument/2006/relationships/image" Target="../media/image16.emf"/><Relationship Id="rId10" Type="http://schemas.openxmlformats.org/officeDocument/2006/relationships/image" Target="../media/image15.png"/><Relationship Id="rId4" Type="http://schemas.openxmlformats.org/officeDocument/2006/relationships/image" Target="../media/image8.png"/><Relationship Id="rId9" Type="http://schemas.openxmlformats.org/officeDocument/2006/relationships/image" Target="../media/image1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7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22.emf"/><Relationship Id="rId5" Type="http://schemas.openxmlformats.org/officeDocument/2006/relationships/image" Target="../media/image21.emf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7578" y="56813"/>
            <a:ext cx="1059698" cy="1001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3" name="Picture 1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1143" y="16960"/>
            <a:ext cx="2090193" cy="791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135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00594" y="192780"/>
            <a:ext cx="8009968" cy="569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4126">
              <a:lnSpc>
                <a:spcPts val="2399"/>
              </a:lnSpc>
              <a:defRPr/>
            </a:pPr>
            <a:r>
              <a:rPr lang="en-US" sz="2799" b="1" dirty="0">
                <a:solidFill>
                  <a:srgbClr val="000000"/>
                </a:solidFill>
                <a:latin typeface="Georgia"/>
                <a:ea typeface="ＭＳ Ｐゴシック" pitchFamily="34" charset="-128"/>
              </a:rPr>
              <a:t>Women in Finance Charter - 2021</a:t>
            </a:r>
            <a:endParaRPr lang="en-US" sz="2799" b="1" kern="0" dirty="0">
              <a:solidFill>
                <a:srgbClr val="000000"/>
              </a:solidFill>
              <a:latin typeface="Georgia"/>
              <a:ea typeface="ＭＳ Ｐゴシック" charset="-128"/>
            </a:endParaRPr>
          </a:p>
        </p:txBody>
      </p:sp>
      <p:sp>
        <p:nvSpPr>
          <p:cNvPr id="2" name="TextBox 1"/>
          <p:cNvSpPr txBox="1"/>
          <p:nvPr/>
        </p:nvSpPr>
        <p:spPr>
          <a:xfrm rot="16200000">
            <a:off x="-857850" y="3244382"/>
            <a:ext cx="5034636" cy="369236"/>
          </a:xfrm>
          <a:prstGeom prst="rect">
            <a:avLst/>
          </a:prstGeom>
          <a:noFill/>
          <a:scene3d>
            <a:camera prst="orthographicFront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 algn="ctr" defTabSz="914126">
              <a:defRPr/>
            </a:pPr>
            <a:r>
              <a:rPr lang="en-GB" sz="1799" dirty="0">
                <a:solidFill>
                  <a:srgbClr val="000000"/>
                </a:solidFill>
                <a:latin typeface="Arial"/>
              </a:rPr>
              <a:t>HIRE</a:t>
            </a: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2086349" y="2579645"/>
            <a:ext cx="1399810" cy="169871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t">
            <a:noAutofit/>
          </a:bodyPr>
          <a:lstStyle/>
          <a:p>
            <a:pPr algn="ctr" defTabSz="914126"/>
            <a:r>
              <a:rPr lang="en-GB" sz="800" b="1" u="sng" dirty="0">
                <a:solidFill>
                  <a:srgbClr val="000000"/>
                </a:solidFill>
              </a:rPr>
              <a:t>2021 Target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0000"/>
                </a:solidFill>
              </a:rPr>
              <a:t>Female representation for every role advertised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0000"/>
                </a:solidFill>
              </a:rPr>
              <a:t>100% unbiased resourcing practices, including: equal opportunities; gender mixed agencies; mix of male and female assessors; recruitment training for hiring managers</a:t>
            </a:r>
          </a:p>
          <a:p>
            <a:pPr defTabSz="914126"/>
            <a:endParaRPr lang="en-GB" sz="800" dirty="0">
              <a:solidFill>
                <a:srgbClr val="000000"/>
              </a:solidFill>
            </a:endParaRPr>
          </a:p>
          <a:p>
            <a:pPr defTabSz="914126"/>
            <a:endParaRPr lang="en-GB" sz="800" dirty="0">
              <a:solidFill>
                <a:srgbClr val="FF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979516" y="1545674"/>
            <a:ext cx="1399807" cy="206926"/>
          </a:xfrm>
          <a:prstGeom prst="rect">
            <a:avLst/>
          </a:prstGeom>
          <a:noFill/>
        </p:spPr>
        <p:txBody>
          <a:bodyPr wrap="square" lIns="91416" tIns="0" rIns="91416" bIns="0" rtlCol="0">
            <a:noAutofit/>
          </a:bodyPr>
          <a:lstStyle/>
          <a:p>
            <a:pPr defTabSz="914126"/>
            <a:r>
              <a:rPr lang="en-GB" sz="1799" dirty="0">
                <a:solidFill>
                  <a:srgbClr val="000000"/>
                </a:solidFill>
                <a:latin typeface="Arial"/>
              </a:rPr>
              <a:t>GOAL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79323" y="1545674"/>
            <a:ext cx="1399807" cy="206926"/>
          </a:xfrm>
          <a:prstGeom prst="rect">
            <a:avLst/>
          </a:prstGeom>
          <a:noFill/>
        </p:spPr>
        <p:txBody>
          <a:bodyPr wrap="square" lIns="91416" tIns="0" rIns="91416" bIns="0" rtlCol="0">
            <a:noAutofit/>
          </a:bodyPr>
          <a:lstStyle/>
          <a:p>
            <a:pPr defTabSz="914126"/>
            <a:r>
              <a:rPr lang="en-GB" sz="1799" dirty="0">
                <a:solidFill>
                  <a:srgbClr val="000000"/>
                </a:solidFill>
                <a:latin typeface="Arial"/>
              </a:rPr>
              <a:t>RESUL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6D14374-65A9-4C04-AE04-2206CDE7E5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06235" y="2579645"/>
            <a:ext cx="3379993" cy="169939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E4C71BE-40B6-4778-9160-E5878EC28F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62546" y="2579645"/>
            <a:ext cx="3395032" cy="1699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844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7578" y="56813"/>
            <a:ext cx="1059698" cy="1001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3" name="Picture 1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1143" y="16960"/>
            <a:ext cx="2090193" cy="791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135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00594" y="192780"/>
            <a:ext cx="8009968" cy="569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4126">
              <a:lnSpc>
                <a:spcPts val="2399"/>
              </a:lnSpc>
              <a:defRPr/>
            </a:pPr>
            <a:r>
              <a:rPr lang="en-US" sz="2799" b="1" dirty="0">
                <a:solidFill>
                  <a:srgbClr val="000000"/>
                </a:solidFill>
                <a:latin typeface="Georgia"/>
                <a:ea typeface="ＭＳ Ｐゴシック" pitchFamily="34" charset="-128"/>
              </a:rPr>
              <a:t>Women in Finance Charter - 2021</a:t>
            </a:r>
            <a:endParaRPr lang="en-US" sz="2799" b="1" kern="0" dirty="0">
              <a:solidFill>
                <a:srgbClr val="000000"/>
              </a:solidFill>
              <a:latin typeface="Georgia"/>
              <a:ea typeface="ＭＳ Ｐゴシック" charset="-128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6D14374-65A9-4C04-AE04-2206CDE7E5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83178" y="1193502"/>
            <a:ext cx="3379993" cy="169939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E4C71BE-40B6-4778-9160-E5878EC28F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83178" y="3429000"/>
            <a:ext cx="3395032" cy="169939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57C5BE4-97C1-46E5-9BCE-4E64B34DA4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33600" y="1308886"/>
            <a:ext cx="4286250" cy="11620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8DF22D-EACD-47E0-8FDA-67C6E44E7B9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96974" y="3748984"/>
            <a:ext cx="4286250" cy="971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2487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7578" y="56813"/>
            <a:ext cx="1059698" cy="1001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3" name="Picture 1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1143" y="16960"/>
            <a:ext cx="2090193" cy="791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135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00594" y="192780"/>
            <a:ext cx="8009968" cy="569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4126">
              <a:lnSpc>
                <a:spcPts val="2399"/>
              </a:lnSpc>
              <a:defRPr/>
            </a:pPr>
            <a:r>
              <a:rPr lang="en-US" sz="2799" b="1" dirty="0">
                <a:solidFill>
                  <a:srgbClr val="000000"/>
                </a:solidFill>
                <a:latin typeface="Georgia"/>
                <a:ea typeface="ＭＳ Ｐゴシック" pitchFamily="34" charset="-128"/>
              </a:rPr>
              <a:t>Women in Finance Charter - 2021</a:t>
            </a:r>
            <a:endParaRPr lang="en-US" sz="2799" b="1" kern="0" dirty="0">
              <a:solidFill>
                <a:srgbClr val="000000"/>
              </a:solidFill>
              <a:latin typeface="Georgia"/>
              <a:ea typeface="ＭＳ Ｐゴシック" charset="-128"/>
            </a:endParaRPr>
          </a:p>
        </p:txBody>
      </p:sp>
      <p:sp>
        <p:nvSpPr>
          <p:cNvPr id="2" name="TextBox 1"/>
          <p:cNvSpPr txBox="1"/>
          <p:nvPr/>
        </p:nvSpPr>
        <p:spPr>
          <a:xfrm rot="16200000">
            <a:off x="-767118" y="2895636"/>
            <a:ext cx="5034636" cy="369236"/>
          </a:xfrm>
          <a:prstGeom prst="rect">
            <a:avLst/>
          </a:prstGeom>
          <a:noFill/>
          <a:scene3d>
            <a:camera prst="orthographicFront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 algn="ctr" defTabSz="914126">
              <a:defRPr/>
            </a:pPr>
            <a:r>
              <a:rPr lang="en-GB" sz="1799" dirty="0">
                <a:solidFill>
                  <a:srgbClr val="000000"/>
                </a:solidFill>
                <a:latin typeface="Arial"/>
              </a:rPr>
              <a:t>ENGAGE</a:t>
            </a: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2233015" y="2077632"/>
            <a:ext cx="1399810" cy="1680483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 defTabSz="914126"/>
            <a:r>
              <a:rPr lang="en-GB" sz="800" b="1" u="sng" dirty="0">
                <a:solidFill>
                  <a:srgbClr val="000000"/>
                </a:solidFill>
              </a:rPr>
              <a:t>2021 Target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0000"/>
                </a:solidFill>
              </a:rPr>
              <a:t>Maintain of 50/50 split of male and female employees within UK Branch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0000"/>
                </a:solidFill>
              </a:rPr>
              <a:t>Target of 50% women people leaders at GG9 and above within UK Branch​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0000"/>
                </a:solidFill>
              </a:rPr>
              <a:t>Target of 33% women leaders at GG13 and above within UK Branch​​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endParaRPr lang="en-GB" sz="800" dirty="0">
              <a:solidFill>
                <a:srgbClr val="000000"/>
              </a:solidFill>
            </a:endParaRPr>
          </a:p>
          <a:p>
            <a:pPr defTabSz="914126"/>
            <a:endParaRPr lang="en-GB" sz="800" dirty="0">
              <a:solidFill>
                <a:srgbClr val="000000"/>
              </a:solidFill>
            </a:endParaRPr>
          </a:p>
          <a:p>
            <a:pPr defTabSz="914126"/>
            <a:endParaRPr lang="en-GB" sz="800" dirty="0">
              <a:solidFill>
                <a:srgbClr val="FF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934819" y="1515131"/>
            <a:ext cx="1399807" cy="206926"/>
          </a:xfrm>
          <a:prstGeom prst="rect">
            <a:avLst/>
          </a:prstGeom>
          <a:noFill/>
        </p:spPr>
        <p:txBody>
          <a:bodyPr wrap="square" lIns="91416" tIns="0" rIns="91416" bIns="0" rtlCol="0">
            <a:noAutofit/>
          </a:bodyPr>
          <a:lstStyle/>
          <a:p>
            <a:pPr defTabSz="914126"/>
            <a:r>
              <a:rPr lang="en-GB" sz="1799" dirty="0">
                <a:solidFill>
                  <a:srgbClr val="000000"/>
                </a:solidFill>
                <a:latin typeface="Arial"/>
              </a:rPr>
              <a:t>GOAL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451279" y="1515131"/>
            <a:ext cx="1399807" cy="206926"/>
          </a:xfrm>
          <a:prstGeom prst="rect">
            <a:avLst/>
          </a:prstGeom>
          <a:noFill/>
        </p:spPr>
        <p:txBody>
          <a:bodyPr wrap="square" lIns="91416" tIns="0" rIns="91416" bIns="0" rtlCol="0">
            <a:noAutofit/>
          </a:bodyPr>
          <a:lstStyle/>
          <a:p>
            <a:pPr defTabSz="914126"/>
            <a:r>
              <a:rPr lang="en-GB" sz="1799" dirty="0">
                <a:solidFill>
                  <a:srgbClr val="000000"/>
                </a:solidFill>
                <a:latin typeface="Arial"/>
              </a:rPr>
              <a:t>RESUL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BFF1382-4E05-48A2-B379-71021C6628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33853" y="2073244"/>
            <a:ext cx="3348116" cy="16833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84A7219-FAFF-464C-8D94-9FCDE13F23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85039" y="2055136"/>
            <a:ext cx="3423975" cy="171198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7DF5AAC-E821-4207-BD4B-0D50270E76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29078" y="3961466"/>
            <a:ext cx="3460188" cy="1741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9739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7578" y="56813"/>
            <a:ext cx="1059698" cy="1001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3" name="Picture 1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1143" y="16960"/>
            <a:ext cx="2090193" cy="791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135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00594" y="192780"/>
            <a:ext cx="8009968" cy="569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4126">
              <a:lnSpc>
                <a:spcPts val="2399"/>
              </a:lnSpc>
              <a:defRPr/>
            </a:pPr>
            <a:r>
              <a:rPr lang="en-US" sz="2799" b="1" dirty="0">
                <a:solidFill>
                  <a:srgbClr val="000000"/>
                </a:solidFill>
                <a:latin typeface="Georgia"/>
                <a:ea typeface="ＭＳ Ｐゴシック" pitchFamily="34" charset="-128"/>
              </a:rPr>
              <a:t>Women in Finance Charter - 2021</a:t>
            </a:r>
            <a:endParaRPr lang="en-US" sz="2799" b="1" kern="0" dirty="0">
              <a:solidFill>
                <a:srgbClr val="000000"/>
              </a:solidFill>
              <a:latin typeface="Georgia"/>
              <a:ea typeface="ＭＳ Ｐゴシック" charset="-128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95AABF-FDBA-4019-909B-D0FBEA876E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7964" y="1005406"/>
            <a:ext cx="4286250" cy="13525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0E074FD-5603-4C44-BF13-DBBAF03B1D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39195" y="838020"/>
            <a:ext cx="3336488" cy="167752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5796E68-CD54-4748-9BF1-F3DBCA1F0E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1928" y="2988115"/>
            <a:ext cx="4895850" cy="13525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E79C8B-85A8-4944-8E4A-B80A4AC989F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15083" y="2775553"/>
            <a:ext cx="3393718" cy="169685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796F641-8B5B-42FC-8B5D-79A6721671F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9089" y="4889720"/>
            <a:ext cx="4895850" cy="9715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5786316-0BBD-4084-AC73-E75489860CB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24136" y="4848705"/>
            <a:ext cx="3433028" cy="1727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1416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7578" y="56813"/>
            <a:ext cx="1059698" cy="1001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3" name="Picture 1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1143" y="16960"/>
            <a:ext cx="2090193" cy="791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135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00594" y="192780"/>
            <a:ext cx="8009968" cy="569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4126">
              <a:lnSpc>
                <a:spcPts val="2399"/>
              </a:lnSpc>
              <a:defRPr/>
            </a:pPr>
            <a:r>
              <a:rPr lang="en-US" sz="2799" b="1" dirty="0">
                <a:solidFill>
                  <a:srgbClr val="000000"/>
                </a:solidFill>
                <a:latin typeface="Georgia"/>
                <a:ea typeface="ＭＳ Ｐゴシック" pitchFamily="34" charset="-128"/>
              </a:rPr>
              <a:t>Women in Finance Charter - 2021</a:t>
            </a:r>
            <a:endParaRPr lang="en-US" sz="2799" b="1" kern="0" dirty="0">
              <a:solidFill>
                <a:srgbClr val="000000"/>
              </a:solidFill>
              <a:latin typeface="Georgia"/>
              <a:ea typeface="ＭＳ Ｐゴシック" charset="-128"/>
            </a:endParaRPr>
          </a:p>
        </p:txBody>
      </p:sp>
      <p:sp>
        <p:nvSpPr>
          <p:cNvPr id="2" name="TextBox 1"/>
          <p:cNvSpPr txBox="1"/>
          <p:nvPr/>
        </p:nvSpPr>
        <p:spPr>
          <a:xfrm rot="16200000">
            <a:off x="-975882" y="3244382"/>
            <a:ext cx="5034636" cy="369236"/>
          </a:xfrm>
          <a:prstGeom prst="rect">
            <a:avLst/>
          </a:prstGeom>
          <a:noFill/>
          <a:scene3d>
            <a:camera prst="orthographicFront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 algn="ctr" defTabSz="914126">
              <a:defRPr/>
            </a:pPr>
            <a:r>
              <a:rPr lang="en-GB" sz="1799" dirty="0">
                <a:solidFill>
                  <a:srgbClr val="000000"/>
                </a:solidFill>
                <a:latin typeface="Arial"/>
              </a:rPr>
              <a:t>DEVOLOP</a:t>
            </a: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1919914" y="2545378"/>
            <a:ext cx="1399810" cy="176724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 defTabSz="914126"/>
            <a:r>
              <a:rPr lang="en-GB" sz="800" b="1" u="sng" dirty="0">
                <a:solidFill>
                  <a:srgbClr val="000000"/>
                </a:solidFill>
              </a:rPr>
              <a:t>2021 Target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arget of 50% women in Exec-1 Accelerate and Progression Talent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Maintain of 50/50 split of male/female attendance at developmental events and training</a:t>
            </a:r>
          </a:p>
          <a:p>
            <a:pPr defTabSz="914126"/>
            <a:endParaRPr lang="en-GB" sz="800" dirty="0">
              <a:solidFill>
                <a:srgbClr val="000000"/>
              </a:solidFill>
            </a:endParaRPr>
          </a:p>
          <a:p>
            <a:pPr defTabSz="914126"/>
            <a:endParaRPr lang="en-GB" sz="800" dirty="0">
              <a:solidFill>
                <a:srgbClr val="000000"/>
              </a:solidFill>
            </a:endParaRPr>
          </a:p>
          <a:p>
            <a:pPr defTabSz="914126"/>
            <a:endParaRPr lang="en-GB" sz="800" dirty="0">
              <a:solidFill>
                <a:srgbClr val="FF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907963" y="1545674"/>
            <a:ext cx="1399807" cy="206926"/>
          </a:xfrm>
          <a:prstGeom prst="rect">
            <a:avLst/>
          </a:prstGeom>
          <a:noFill/>
        </p:spPr>
        <p:txBody>
          <a:bodyPr wrap="square" lIns="91416" tIns="0" rIns="91416" bIns="0" rtlCol="0">
            <a:noAutofit/>
          </a:bodyPr>
          <a:lstStyle/>
          <a:p>
            <a:pPr defTabSz="914126"/>
            <a:r>
              <a:rPr lang="en-GB" sz="1799" dirty="0">
                <a:solidFill>
                  <a:srgbClr val="000000"/>
                </a:solidFill>
                <a:latin typeface="Arial"/>
              </a:rPr>
              <a:t>GOAL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489678" y="1538673"/>
            <a:ext cx="1399807" cy="206926"/>
          </a:xfrm>
          <a:prstGeom prst="rect">
            <a:avLst/>
          </a:prstGeom>
          <a:noFill/>
        </p:spPr>
        <p:txBody>
          <a:bodyPr wrap="square" lIns="91416" tIns="0" rIns="91416" bIns="0" rtlCol="0">
            <a:noAutofit/>
          </a:bodyPr>
          <a:lstStyle/>
          <a:p>
            <a:pPr defTabSz="914126"/>
            <a:r>
              <a:rPr lang="en-GB" sz="1799" dirty="0">
                <a:solidFill>
                  <a:srgbClr val="000000"/>
                </a:solidFill>
                <a:latin typeface="Arial"/>
              </a:rPr>
              <a:t>RESUL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58AB136-96DD-4AFE-896C-42B373CFEB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10980" y="2549127"/>
            <a:ext cx="3497280" cy="17603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8F9C744-A34F-48C5-A9A4-7B82F270A1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55653" y="2558179"/>
            <a:ext cx="3483171" cy="1751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312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7578" y="56813"/>
            <a:ext cx="1059698" cy="1001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3" name="Picture 1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1143" y="16960"/>
            <a:ext cx="2090193" cy="791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135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00594" y="192780"/>
            <a:ext cx="8009968" cy="569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4126">
              <a:lnSpc>
                <a:spcPts val="2399"/>
              </a:lnSpc>
              <a:defRPr/>
            </a:pPr>
            <a:r>
              <a:rPr lang="en-US" sz="2799" b="1" dirty="0">
                <a:solidFill>
                  <a:srgbClr val="000000"/>
                </a:solidFill>
                <a:latin typeface="Georgia"/>
                <a:ea typeface="ＭＳ Ｐゴシック" pitchFamily="34" charset="-128"/>
              </a:rPr>
              <a:t>Women in Finance Charter - 2021</a:t>
            </a:r>
            <a:endParaRPr lang="en-US" sz="2799" b="1" kern="0" dirty="0">
              <a:solidFill>
                <a:srgbClr val="000000"/>
              </a:solidFill>
              <a:latin typeface="Georgia"/>
              <a:ea typeface="ＭＳ Ｐゴシック" charset="-128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A32D7B0-E0C1-4CC0-AD7F-E6A13A30F7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6249" y="1358492"/>
            <a:ext cx="4895850" cy="13525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E90FF3B-03EF-49CC-A8CF-BA1B4BB131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74891" y="3852909"/>
            <a:ext cx="4895850" cy="11620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E0C409B-4BBD-4BD5-8F78-7EAB66160A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88746" y="1299749"/>
            <a:ext cx="3497280" cy="17603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0A7BE8A-A8A1-4E84-8A67-F2E8BD062F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40017" y="3780397"/>
            <a:ext cx="3483171" cy="1751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88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Met Life Main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Generic">
      <a:majorFont>
        <a:latin typeface="Georgia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Default Theme">
  <a:themeElements>
    <a:clrScheme name="MetLife v2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MetLife v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067</TotalTime>
  <Words>156</Words>
  <Application>Microsoft Office PowerPoint</Application>
  <PresentationFormat>Custom</PresentationFormat>
  <Paragraphs>33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.AppleSystemUIFont</vt:lpstr>
      <vt:lpstr>Arial</vt:lpstr>
      <vt:lpstr>Calibri</vt:lpstr>
      <vt:lpstr>Georgia</vt:lpstr>
      <vt:lpstr>Georgia Bold</vt:lpstr>
      <vt:lpstr>Lucida Grande</vt:lpstr>
      <vt:lpstr>MetLife Circular</vt:lpstr>
      <vt:lpstr>Default Theme</vt:lpstr>
      <vt:lpstr>1_Default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nne Warren</dc:creator>
  <cp:lastModifiedBy>Preston, Ryan</cp:lastModifiedBy>
  <cp:revision>427</cp:revision>
  <cp:lastPrinted>2017-12-21T22:19:51Z</cp:lastPrinted>
  <dcterms:created xsi:type="dcterms:W3CDTF">2017-02-15T20:37:04Z</dcterms:created>
  <dcterms:modified xsi:type="dcterms:W3CDTF">2021-12-09T16:21:43Z</dcterms:modified>
</cp:coreProperties>
</file>